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10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FB384DDD-5930-4621-898E-AE137C4FC2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FB384DDD-5930-4621-898E-AE137C4FC2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CF5ABF23-44D1-405D-A032-CA28F67B1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Genau</a:t>
            </a:r>
            <a:r>
              <a:rPr lang="fr-FR" altLang="fr-FR" sz="3200" dirty="0"/>
              <a:t> die </a:t>
            </a:r>
            <a:r>
              <a:rPr lang="fr-FR" altLang="fr-FR" sz="3200" dirty="0" err="1"/>
              <a:t>richtige</a:t>
            </a:r>
            <a:r>
              <a:rPr lang="fr-FR" altLang="fr-FR" sz="3200" dirty="0"/>
              <a:t> </a:t>
            </a:r>
            <a:r>
              <a:rPr lang="fr-FR" altLang="fr-FR" sz="3200" dirty="0" err="1"/>
              <a:t>Klebstoffmenge</a:t>
            </a:r>
            <a:endParaRPr lang="fr-FR" altLang="fr-FR" sz="3200" dirty="0"/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731F7ABE-DC8D-4F05-9588-C3864E5F0E3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403875"/>
            <a:ext cx="7997825" cy="2816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Gravierte</a:t>
            </a:r>
            <a:r>
              <a:rPr lang="fr-FR" altLang="fr-FR" dirty="0">
                <a:solidFill>
                  <a:srgbClr val="000000"/>
                </a:solidFill>
              </a:rPr>
              <a:t> </a:t>
            </a:r>
            <a:r>
              <a:rPr lang="fr-FR" altLang="fr-FR" dirty="0" err="1">
                <a:solidFill>
                  <a:srgbClr val="000000"/>
                </a:solidFill>
              </a:rPr>
              <a:t>Leimauftragsrolle</a:t>
            </a:r>
            <a:r>
              <a:rPr lang="fr-FR" altLang="fr-FR" dirty="0">
                <a:solidFill>
                  <a:srgbClr val="000000"/>
                </a:solidFill>
              </a:rPr>
              <a:t> - Pack "b"</a:t>
            </a:r>
          </a:p>
        </p:txBody>
      </p:sp>
      <p:sp>
        <p:nvSpPr>
          <p:cNvPr id="17430" name="BainBulletsConfiguration" hidden="1">
            <a:extLst>
              <a:ext uri="{FF2B5EF4-FFF2-40B4-BE49-F238E27FC236}">
                <a16:creationId xmlns:a16="http://schemas.microsoft.com/office/drawing/2014/main" id="{320E109D-AC9A-43ED-A112-2C232AEFDF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sp>
        <p:nvSpPr>
          <p:cNvPr id="17432" name="Text Placeholder 2">
            <a:extLst>
              <a:ext uri="{FF2B5EF4-FFF2-40B4-BE49-F238E27FC236}">
                <a16:creationId xmlns:a16="http://schemas.microsoft.com/office/drawing/2014/main" id="{E53E31EA-1FA2-4E2C-9E59-6420641052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7700" y="586263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fr-FR" altLang="en-US" sz="800" dirty="0" err="1"/>
              <a:t>Nutzen</a:t>
            </a:r>
            <a:r>
              <a:rPr lang="fr-FR" altLang="en-US" sz="800" dirty="0"/>
              <a:t>: </a:t>
            </a:r>
            <a:r>
              <a:rPr lang="fr-FR" altLang="en-US" sz="800" dirty="0" err="1"/>
              <a:t>Effizienz</a:t>
            </a:r>
            <a:r>
              <a:rPr lang="fr-FR" altLang="en-US" sz="800" dirty="0"/>
              <a:t>, </a:t>
            </a:r>
            <a:r>
              <a:rPr lang="fr-FR" altLang="en-US" sz="800" dirty="0" err="1"/>
              <a:t>Wartung</a:t>
            </a:r>
            <a:r>
              <a:rPr lang="fr-FR" altLang="en-US" sz="800" dirty="0"/>
              <a:t>, </a:t>
            </a:r>
            <a:r>
              <a:rPr lang="fr-FR" altLang="en-US" sz="800" dirty="0" err="1"/>
              <a:t>Obsoleszenz</a:t>
            </a:r>
            <a:endParaRPr lang="fr-FR" altLang="en-US" sz="800" dirty="0"/>
          </a:p>
          <a:p>
            <a:pPr>
              <a:spcBef>
                <a:spcPct val="20000"/>
              </a:spcBef>
            </a:pPr>
            <a:r>
              <a:rPr lang="fr-FR" altLang="en-US" sz="800" dirty="0" err="1"/>
              <a:t>Ausstattung</a:t>
            </a:r>
            <a:r>
              <a:rPr lang="fr-FR" altLang="en-US" sz="800" dirty="0"/>
              <a:t>: </a:t>
            </a:r>
            <a:r>
              <a:rPr lang="fr-FR" altLang="en-US" sz="800" dirty="0" err="1"/>
              <a:t>Etikettierer</a:t>
            </a:r>
            <a:r>
              <a:rPr lang="fr-FR" altLang="en-US" sz="800" dirty="0"/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 </a:t>
            </a:r>
          </a:p>
          <a:p>
            <a:pPr>
              <a:spcBef>
                <a:spcPct val="20000"/>
              </a:spcBef>
            </a:pPr>
            <a:r>
              <a:rPr lang="fr-FR" altLang="en-US" sz="800" dirty="0" err="1"/>
              <a:t>Katalog</a:t>
            </a:r>
            <a:r>
              <a:rPr lang="fr-FR" altLang="en-US" sz="800" dirty="0"/>
              <a:t>-Code: AA27b</a:t>
            </a:r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6119E5C5-2941-4C1F-9900-32387F566849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1"/>
            <a:ext cx="7991475" cy="4108100"/>
            <a:chOff x="650875" y="1906524"/>
            <a:chExt cx="7991475" cy="4042232"/>
          </a:xfrm>
        </p:grpSpPr>
        <p:sp>
          <p:nvSpPr>
            <p:cNvPr id="16" name="Rechteck 3">
              <a:extLst>
                <a:ext uri="{FF2B5EF4-FFF2-40B4-BE49-F238E27FC236}">
                  <a16:creationId xmlns:a16="http://schemas.microsoft.com/office/drawing/2014/main" id="{3EE6DE97-7DB2-4720-8806-DF0959BB7973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NUTZEN UND VORTEILE</a:t>
              </a:r>
            </a:p>
          </p:txBody>
        </p:sp>
        <p:sp>
          <p:nvSpPr>
            <p:cNvPr id="17" name="Rechteck 4">
              <a:extLst>
                <a:ext uri="{FF2B5EF4-FFF2-40B4-BE49-F238E27FC236}">
                  <a16:creationId xmlns:a16="http://schemas.microsoft.com/office/drawing/2014/main" id="{0DE4A51A-223C-4C14-A4F9-A1CEFC394F94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hteck 11">
              <a:extLst>
                <a:ext uri="{FF2B5EF4-FFF2-40B4-BE49-F238E27FC236}">
                  <a16:creationId xmlns:a16="http://schemas.microsoft.com/office/drawing/2014/main" id="{36971F5C-5D3B-4D64-822F-7109D0B0BAA2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spcAft>
                  <a:spcPts val="0"/>
                </a:spcAft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BESCHREIBUNG</a:t>
              </a:r>
              <a:endParaRPr lang="de-DE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9" name="Rechteck 12">
              <a:extLst>
                <a:ext uri="{FF2B5EF4-FFF2-40B4-BE49-F238E27FC236}">
                  <a16:creationId xmlns:a16="http://schemas.microsoft.com/office/drawing/2014/main" id="{84938E20-1876-4C09-B61F-0F3FBB33BFAD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B1DC3-4527-4612-B1FC-B61F50458D62}"/>
              </a:ext>
            </a:extLst>
          </p:cNvPr>
          <p:cNvSpPr/>
          <p:nvPr/>
        </p:nvSpPr>
        <p:spPr>
          <a:xfrm>
            <a:off x="633412" y="2095327"/>
            <a:ext cx="3890963" cy="3651760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Sichern Sie die Produktion, indem Sie veraltete Komponenten (Chromwalzen werden nicht mehr hergestellt) durch Leimwalzen der neuesten Technologie ersetzen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Verhindern Sie das Verspritzen von Klebstoff und Filamenten, die durch die Form von „Nischen“ garantiert werde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Sichern Sie die richtige Menge Klebstoff auf dem Etikett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Bessere Kontrolle der aufgetragenen Leimmenge: Wenn mehr Leim benötigt wird, reicht es aus, das Volumen der Nischen und die Fläche der Etikettenpads zu vergrößern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Reduzieren Sie Wartungskosten und </a:t>
            </a:r>
            <a:r>
              <a:rPr lang="de-DE" sz="1050" dirty="0" err="1">
                <a:solidFill>
                  <a:srgbClr val="000000"/>
                </a:solidFill>
              </a:rPr>
              <a:t>Maschinenstillstandszeiten</a:t>
            </a:r>
            <a:r>
              <a:rPr lang="de-DE" sz="1050" dirty="0">
                <a:solidFill>
                  <a:srgbClr val="000000"/>
                </a:solidFill>
              </a:rPr>
              <a:t>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er empfohlene Rollenwechsel beträgt 9000 Stunden bei der aktuellen Version und 36000 Stunden bei der neuen Version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ie Lebensdauer des </a:t>
            </a:r>
            <a:r>
              <a:rPr lang="de-DE" sz="1050" dirty="0" err="1">
                <a:solidFill>
                  <a:srgbClr val="000000"/>
                </a:solidFill>
              </a:rPr>
              <a:t>Scrappers</a:t>
            </a:r>
            <a:r>
              <a:rPr lang="de-DE" sz="1050" dirty="0">
                <a:solidFill>
                  <a:srgbClr val="000000"/>
                </a:solidFill>
              </a:rPr>
              <a:t> hat sich verdoppelt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Reduzierte Kosten für Ersatzteile (durchschnittlich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E06ACE-B856-443C-A1D0-EB6AFE2648D4}"/>
              </a:ext>
            </a:extLst>
          </p:cNvPr>
          <p:cNvSpPr/>
          <p:nvPr/>
        </p:nvSpPr>
        <p:spPr>
          <a:xfrm>
            <a:off x="4735512" y="2095326"/>
            <a:ext cx="3890963" cy="2140962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a die vorhandene Leimwalzentechnologie veraltet ist, bietet Sidel eine neue Baugruppe an, um die richtige Leimmenge auf dem Etikett zu liefern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Automatisch einstellbarer Klebestab mit integriertem </a:t>
            </a:r>
            <a:r>
              <a:rPr lang="de-DE" sz="1050" dirty="0" err="1">
                <a:solidFill>
                  <a:srgbClr val="000000"/>
                </a:solidFill>
              </a:rPr>
              <a:t>Abstreifersystem</a:t>
            </a:r>
            <a:endParaRPr lang="de-DE" sz="1050" dirty="0">
              <a:solidFill>
                <a:srgbClr val="000000"/>
              </a:solidFill>
            </a:endParaRP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Neues Konzept der Leimübertragung mit kontrollierter Temperatur  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Nischen mit einem Laserschneiden erstellt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de-DE" sz="1050" dirty="0">
                <a:solidFill>
                  <a:srgbClr val="000000"/>
                </a:solidFill>
              </a:rPr>
              <a:t>Die Packung besteht aus einer kompletten vormontierten Gruppe, die die neue Leimwalze und die erforderlichen Anpassungsteile enthält</a:t>
            </a:r>
            <a:endParaRPr lang="en-GB" sz="1050" dirty="0">
              <a:solidFill>
                <a:srgbClr val="000000"/>
              </a:solidFill>
            </a:endParaRPr>
          </a:p>
        </p:txBody>
      </p:sp>
      <p:pic>
        <p:nvPicPr>
          <p:cNvPr id="22" name="Immagine 14">
            <a:extLst>
              <a:ext uri="{FF2B5EF4-FFF2-40B4-BE49-F238E27FC236}">
                <a16:creationId xmlns:a16="http://schemas.microsoft.com/office/drawing/2014/main" id="{7191F744-D5B5-484D-9CEA-888B318D3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871752" y="4271574"/>
            <a:ext cx="1148746" cy="14435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magine 16">
            <a:extLst>
              <a:ext uri="{FF2B5EF4-FFF2-40B4-BE49-F238E27FC236}">
                <a16:creationId xmlns:a16="http://schemas.microsoft.com/office/drawing/2014/main" id="{C1748713-0967-468E-9539-990C25CF4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826827" y="4226796"/>
            <a:ext cx="682173" cy="148837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magine 15">
            <a:extLst>
              <a:ext uri="{FF2B5EF4-FFF2-40B4-BE49-F238E27FC236}">
                <a16:creationId xmlns:a16="http://schemas.microsoft.com/office/drawing/2014/main" id="{C652126B-D6CA-45DB-985D-81A327A0E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380435" y="4290815"/>
            <a:ext cx="1148746" cy="141455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177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F29FD6B-2A8E-45F5-8549-1812974F33C0}">
  <ds:schemaRefs>
    <ds:schemaRef ds:uri="http://www.w3.org/XML/1998/namespace"/>
    <ds:schemaRef ds:uri="http://schemas.openxmlformats.org/package/2006/metadata/core-properties"/>
    <ds:schemaRef ds:uri="434e2f32-19b3-47cb-9d2c-18393d983ab8"/>
    <ds:schemaRef ds:uri="http://purl.org/dc/elements/1.1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a43ef570-d230-47fc-9dce-81ae025d238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2</TotalTime>
  <Words>222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Genau die richtige Klebstoffme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99</cp:revision>
  <dcterms:created xsi:type="dcterms:W3CDTF">2018-02-10T17:04:39Z</dcterms:created>
  <dcterms:modified xsi:type="dcterms:W3CDTF">2021-04-20T13:0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8:24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